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77" d="100"/>
          <a:sy n="77" d="100"/>
        </p:scale>
        <p:origin x="67" y="2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4906A1-B7F0-4751-A9A2-6A7CEEB285A9}" type="datetimeFigureOut">
              <a:rPr lang="de-DE" smtClean="0"/>
              <a:t>27.06.201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E043C5-BCDE-405D-B1C1-4456E0C891F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63241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4906A1-B7F0-4751-A9A2-6A7CEEB285A9}" type="datetimeFigureOut">
              <a:rPr lang="de-DE" smtClean="0"/>
              <a:t>27.06.201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E043C5-BCDE-405D-B1C1-4456E0C891F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09470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4906A1-B7F0-4751-A9A2-6A7CEEB285A9}" type="datetimeFigureOut">
              <a:rPr lang="de-DE" smtClean="0"/>
              <a:t>27.06.201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E043C5-BCDE-405D-B1C1-4456E0C891F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55821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4906A1-B7F0-4751-A9A2-6A7CEEB285A9}" type="datetimeFigureOut">
              <a:rPr lang="de-DE" smtClean="0"/>
              <a:t>27.06.201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E043C5-BCDE-405D-B1C1-4456E0C891F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589396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4906A1-B7F0-4751-A9A2-6A7CEEB285A9}" type="datetimeFigureOut">
              <a:rPr lang="de-DE" smtClean="0"/>
              <a:t>27.06.201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E043C5-BCDE-405D-B1C1-4456E0C891F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06710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4906A1-B7F0-4751-A9A2-6A7CEEB285A9}" type="datetimeFigureOut">
              <a:rPr lang="de-DE" smtClean="0"/>
              <a:t>27.06.2018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E043C5-BCDE-405D-B1C1-4456E0C891F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73311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4906A1-B7F0-4751-A9A2-6A7CEEB285A9}" type="datetimeFigureOut">
              <a:rPr lang="de-DE" smtClean="0"/>
              <a:t>27.06.2018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E043C5-BCDE-405D-B1C1-4456E0C891F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10035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4906A1-B7F0-4751-A9A2-6A7CEEB285A9}" type="datetimeFigureOut">
              <a:rPr lang="de-DE" smtClean="0"/>
              <a:t>27.06.2018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E043C5-BCDE-405D-B1C1-4456E0C891F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21357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4906A1-B7F0-4751-A9A2-6A7CEEB285A9}" type="datetimeFigureOut">
              <a:rPr lang="de-DE" smtClean="0"/>
              <a:t>27.06.2018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E043C5-BCDE-405D-B1C1-4456E0C891F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12327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4906A1-B7F0-4751-A9A2-6A7CEEB285A9}" type="datetimeFigureOut">
              <a:rPr lang="de-DE" smtClean="0"/>
              <a:t>27.06.2018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E043C5-BCDE-405D-B1C1-4456E0C891F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44082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4906A1-B7F0-4751-A9A2-6A7CEEB285A9}" type="datetimeFigureOut">
              <a:rPr lang="de-DE" smtClean="0"/>
              <a:t>27.06.2018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E043C5-BCDE-405D-B1C1-4456E0C891F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15846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4906A1-B7F0-4751-A9A2-6A7CEEB285A9}" type="datetimeFigureOut">
              <a:rPr lang="de-DE" smtClean="0"/>
              <a:t>27.06.201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E043C5-BCDE-405D-B1C1-4456E0C891F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0491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1765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/>
        </p:nvSpPr>
        <p:spPr>
          <a:xfrm>
            <a:off x="113305" y="432550"/>
            <a:ext cx="3878531" cy="27901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/>
        </p:nvSpPr>
        <p:spPr>
          <a:xfrm>
            <a:off x="4168205" y="3566997"/>
            <a:ext cx="3878531" cy="27901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hteck 13"/>
          <p:cNvSpPr/>
          <p:nvPr/>
        </p:nvSpPr>
        <p:spPr>
          <a:xfrm>
            <a:off x="8223105" y="432550"/>
            <a:ext cx="3878531" cy="27901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/>
        </p:nvSpPr>
        <p:spPr>
          <a:xfrm>
            <a:off x="4168205" y="432550"/>
            <a:ext cx="3878531" cy="27901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6213" y="3925778"/>
            <a:ext cx="1682514" cy="1682514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>
          <a:xfrm>
            <a:off x="5106202" y="5682528"/>
            <a:ext cx="20025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 smtClean="0">
                <a:latin typeface="Arial Black" panose="020B0A04020102020204" pitchFamily="34" charset="0"/>
              </a:rPr>
              <a:t>FAQ</a:t>
            </a:r>
            <a:endParaRPr lang="de-DE" sz="2400" dirty="0">
              <a:latin typeface="Arial Black" panose="020B0A04020102020204" pitchFamily="34" charset="0"/>
            </a:endParaRP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1383" y="807826"/>
            <a:ext cx="1672177" cy="1672177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5106204" y="2553156"/>
            <a:ext cx="20025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 smtClean="0">
                <a:latin typeface="Arial Black" panose="020B0A04020102020204" pitchFamily="34" charset="0"/>
              </a:rPr>
              <a:t>Features</a:t>
            </a:r>
            <a:endParaRPr lang="de-DE" sz="2400" dirty="0">
              <a:latin typeface="Arial Black" panose="020B0A04020102020204" pitchFamily="34" charset="0"/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4288" y="655833"/>
            <a:ext cx="1976161" cy="1976161"/>
          </a:xfrm>
          <a:prstGeom prst="rect">
            <a:avLst/>
          </a:prstGeom>
        </p:spPr>
      </p:pic>
      <p:sp>
        <p:nvSpPr>
          <p:cNvPr id="9" name="Textfeld 8"/>
          <p:cNvSpPr txBox="1"/>
          <p:nvPr/>
        </p:nvSpPr>
        <p:spPr>
          <a:xfrm>
            <a:off x="8223104" y="2553155"/>
            <a:ext cx="38785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 err="1" smtClean="0">
                <a:latin typeface="Arial Black" panose="020B0A04020102020204" pitchFamily="34" charset="0"/>
              </a:rPr>
              <a:t>Getting</a:t>
            </a:r>
            <a:r>
              <a:rPr lang="de-DE" sz="2400" dirty="0" smtClean="0">
                <a:latin typeface="Arial Black" panose="020B0A04020102020204" pitchFamily="34" charset="0"/>
              </a:rPr>
              <a:t> </a:t>
            </a:r>
            <a:r>
              <a:rPr lang="de-DE" sz="2400" dirty="0" err="1" smtClean="0">
                <a:latin typeface="Arial Black" panose="020B0A04020102020204" pitchFamily="34" charset="0"/>
              </a:rPr>
              <a:t>Started</a:t>
            </a:r>
            <a:endParaRPr lang="de-DE" sz="2400" dirty="0">
              <a:latin typeface="Arial Black" panose="020B0A04020102020204" pitchFamily="34" charset="0"/>
            </a:endParaRP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5412" y="846756"/>
            <a:ext cx="1594314" cy="1594314"/>
          </a:xfrm>
          <a:prstGeom prst="rect">
            <a:avLst/>
          </a:prstGeom>
        </p:spPr>
      </p:pic>
      <p:sp>
        <p:nvSpPr>
          <p:cNvPr id="11" name="Textfeld 10"/>
          <p:cNvSpPr txBox="1"/>
          <p:nvPr/>
        </p:nvSpPr>
        <p:spPr>
          <a:xfrm>
            <a:off x="113304" y="2553154"/>
            <a:ext cx="38785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 err="1" smtClean="0">
                <a:latin typeface="Arial Black" panose="020B0A04020102020204" pitchFamily="34" charset="0"/>
              </a:rPr>
              <a:t>Pricing</a:t>
            </a:r>
            <a:endParaRPr lang="de-DE" sz="2400" dirty="0"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2934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</Words>
  <Application>Microsoft Office PowerPoint</Application>
  <PresentationFormat>Breitbild</PresentationFormat>
  <Paragraphs>4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7" baseType="lpstr">
      <vt:lpstr>Arial</vt:lpstr>
      <vt:lpstr>Arial Black</vt:lpstr>
      <vt:lpstr>Calibri</vt:lpstr>
      <vt:lpstr>Calibri Light</vt:lpstr>
      <vt:lpstr>Office</vt:lpstr>
      <vt:lpstr>think-cell Folie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x Hoffmann</dc:creator>
  <cp:lastModifiedBy>Max Hoffmann</cp:lastModifiedBy>
  <cp:revision>4</cp:revision>
  <dcterms:created xsi:type="dcterms:W3CDTF">2018-06-27T09:21:19Z</dcterms:created>
  <dcterms:modified xsi:type="dcterms:W3CDTF">2018-07-02T18:44:00Z</dcterms:modified>
</cp:coreProperties>
</file>